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56" r:id="rId2"/>
    <p:sldId id="257" r:id="rId3"/>
    <p:sldId id="259" r:id="rId4"/>
    <p:sldId id="264" r:id="rId5"/>
    <p:sldId id="265" r:id="rId6"/>
    <p:sldId id="261" r:id="rId7"/>
    <p:sldId id="267" r:id="rId8"/>
    <p:sldId id="269" r:id="rId9"/>
    <p:sldId id="270" r:id="rId10"/>
    <p:sldId id="271" r:id="rId11"/>
    <p:sldId id="272" r:id="rId12"/>
    <p:sldId id="273" r:id="rId13"/>
    <p:sldId id="262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95" d="100"/>
          <a:sy n="95" d="100"/>
        </p:scale>
        <p:origin x="20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034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695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231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59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24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662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6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276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3161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795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567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3E15F4ED-4AA3-4EBF-8095-BB384D683934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FD64305-82F7-18AF-3033-FE4687128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70010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BCC7C1-97D7-4F56-A40E-144F737AB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356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C88DF8-DDE7-4F51-9008-AE9EEF4843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9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DFCCDB-249A-4AA9-A361-3BAAF14ECA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ctr"/>
          <a:lstStyle/>
          <a:p>
            <a:pPr algn="l"/>
            <a:r>
              <a:rPr lang="en-US" b="1" dirty="0"/>
              <a:t>Lending Club case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A1FCF-E7D4-47B2-A3B4-2F3267172C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algn="r"/>
            <a:r>
              <a:rPr lang="en-US" dirty="0"/>
              <a:t>Submitted by: Prasad &amp; Jitesh</a:t>
            </a:r>
          </a:p>
        </p:txBody>
      </p:sp>
    </p:spTree>
    <p:extLst>
      <p:ext uri="{BB962C8B-B14F-4D97-AF65-F5344CB8AC3E}">
        <p14:creationId xmlns:p14="http://schemas.microsoft.com/office/powerpoint/2010/main" val="1858609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Loans taken for Small business has a high percentage of charge off'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NE State has the highest charged-off percentage(almost 60 percent)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 State has a large number of charged-off loa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ED286-77E3-2668-2664-2E0AC9AA14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414" y="3084681"/>
            <a:ext cx="3959976" cy="3228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585E62A-9A90-8517-A4C9-8C74CCA6F5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2363" y="3101054"/>
            <a:ext cx="4199679" cy="306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403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pub_rec_bankruptci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is high then also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percentage is slightly high(~2-4) for DTI range is between 15 to 27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is slightly high if the loan amount is greater than 30K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FA13B6-C159-94C5-BD97-7D573FC905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9119" y="3074092"/>
            <a:ext cx="4393113" cy="31743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F1D1E2-8FA3-04A5-1E65-476D866A4D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4623" y="3108989"/>
            <a:ext cx="3851694" cy="30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931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Feature Engine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682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ing the difference amount o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and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_inv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. Issuing more/less loan amount than approved amount doesn't have any effect on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ed the percentage of installment in monthly income. If the Installment to Monthly income percentage is more than ~8%, the chances of charge off increases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1D004-CA15-B03A-0264-C4910C411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8411" y="3306128"/>
            <a:ext cx="3531063" cy="290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92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ending club can consider below factors to decrease the Charge off percent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terest rate for 60 months loan term can be reduc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Should not give more loans if Revolving line utilization rat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is highe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issue loans carefully for certain grades which has higher charge off percent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not give more loans to people from NE state as they have ~60% charge off’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also reduce the number of loan for CA State as it has more number of charge off’s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271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03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64218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ase Study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uilt understanding of the objective, different features and  their data typ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ddressed the data quality issues including missing values, outliers and redundant features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ivariate analysis of categorial and continuous variables and their relationship with loan statu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rived new features from the data as per the domain understanding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ivariate analysis and segmented analysis to understand the relationship between different featur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fied significant metrics in identifying default</a:t>
            </a:r>
          </a:p>
        </p:txBody>
      </p:sp>
    </p:spTree>
    <p:extLst>
      <p:ext uri="{BB962C8B-B14F-4D97-AF65-F5344CB8AC3E}">
        <p14:creationId xmlns:p14="http://schemas.microsoft.com/office/powerpoint/2010/main" val="396395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65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36885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Data Cleaning and mani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2794597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features which have very low fill rate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user behavior features which are not available before issuing the loan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ted the data types of the features as per relevance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terest rate, loan term and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revol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util to float from object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 fields to date from object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d new columns with interest bins and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funded_amnt_inv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bins, and DTI bins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issing value imputations</a:t>
            </a:r>
          </a:p>
        </p:txBody>
      </p:sp>
    </p:spTree>
    <p:extLst>
      <p:ext uri="{BB962C8B-B14F-4D97-AF65-F5344CB8AC3E}">
        <p14:creationId xmlns:p14="http://schemas.microsoft.com/office/powerpoint/2010/main" val="3851372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8"/>
            <a:ext cx="9905998" cy="2882404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Font typeface="Arial"/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ontinuous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ssued amount lies is between 5000 to 15000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stallment amount lies between 200 to 500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terest rate lies between 10 to 15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DTI lies between 8 to 18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-apple-system"/>
              </a:rPr>
              <a:t>A lot of features are quite skewed including annual income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FB137F-0189-62C2-9786-70672DB6BC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3" y="3906254"/>
            <a:ext cx="3274511" cy="23421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4FD6EA-1207-C7A9-BF7D-782992C855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7741" y="3906254"/>
            <a:ext cx="3437395" cy="2342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D523AE0-C580-41E9-09A1-2E0B26FAAA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2955" y="3906254"/>
            <a:ext cx="3357459" cy="234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19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9"/>
            <a:ext cx="9965240" cy="2353439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ategorical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-apple-system"/>
              </a:rPr>
              <a:t>There are around 15 percent charged off loa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76% of loans term is 36 months rest are 60 months.</a:t>
            </a:r>
            <a:endParaRPr lang="en-US" b="0" i="0" dirty="0">
              <a:effectLst/>
              <a:latin typeface="-apple-system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Most number(~17500) of loans are taken for debt consolidation</a:t>
            </a: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6BDE09-9185-246A-9466-1955266F7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3" y="3208422"/>
            <a:ext cx="3367894" cy="30399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5F3CF8-F45F-EE06-3450-F7E575DFCC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3885" y="3208422"/>
            <a:ext cx="3583835" cy="28193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218BDC6-3CCB-F3CE-88F9-F3195BF3B4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27720" y="3318710"/>
            <a:ext cx="3583838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8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87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9"/>
            <a:ext cx="9965240" cy="2275739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ategorical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States CA, NY, FL, Tx has highest number of loa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st number of loans are given to Grad A, B, C, 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re number of loans are given to people with 10+ years, 1 year, 2 years experience respectively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B47CEB-7F98-E93B-902D-D1C0E984C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4" y="3571878"/>
            <a:ext cx="3535626" cy="258026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C84C31-DA86-2CED-AF00-4645A09731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2356" y="3571878"/>
            <a:ext cx="3528895" cy="25802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755F7A6-8B2A-563E-912D-B3D6ADBA29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3560" y="3571878"/>
            <a:ext cx="3528897" cy="258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13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On an average Charge off loans have higher rate of interest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The Charged off loans have more inquiries compared to fully paid loans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Revolving line utilization rate is higher for charges off loans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-apple-system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584E13-A1E2-2BE7-B177-0D0EF16FBF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413" y="3341411"/>
            <a:ext cx="3549914" cy="25941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6C64F0E-B019-09B3-8DE7-2BC288DD81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1397" y="3341410"/>
            <a:ext cx="3727915" cy="25941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4274C50-7518-026E-0CBB-5D6A3E0B32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2575" y="3341411"/>
            <a:ext cx="3697724" cy="259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36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the loan term is 60 months then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nterest rate is also higher for 60 months compared to 36 months term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Grades E, F, and G have high-interest rates and percentages of charged-off loan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7BAD60-BE7E-5AF7-E8E6-DD9286831A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3548" y="3113763"/>
            <a:ext cx="3703303" cy="283785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09A2B20-BC80-F710-379B-169296FF57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0321" y="3237271"/>
            <a:ext cx="3703303" cy="271344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3A6955-B6EF-8D28-BBE2-25B7952C96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70875" y="3112857"/>
            <a:ext cx="3565422" cy="2837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825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we look into subgrades F5 and G3 have more than 40 percent charged off loan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Employment length “unknown” has a 20 percent of charged off loans.</a:t>
            </a:r>
            <a:endParaRPr lang="en-IN" sz="2000" dirty="0">
              <a:solidFill>
                <a:schemeClr val="tx1">
                  <a:lumMod val="75000"/>
                  <a:lumOff val="25000"/>
                </a:schemeClr>
              </a:solidFill>
              <a:latin typeface="-apple-system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AEC609-EBF5-4802-9753-899F1AD7AA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413" y="2838870"/>
            <a:ext cx="4519739" cy="32464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DB0DDC-09CA-0D7E-941E-DCB6D2218A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7273" y="2846891"/>
            <a:ext cx="4519739" cy="340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12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051</TotalTime>
  <Words>674</Words>
  <Application>Microsoft Office PowerPoint</Application>
  <PresentationFormat>Widescreen</PresentationFormat>
  <Paragraphs>6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-apple-system</vt:lpstr>
      <vt:lpstr>Arial</vt:lpstr>
      <vt:lpstr>Calibri</vt:lpstr>
      <vt:lpstr>Calibri Light</vt:lpstr>
      <vt:lpstr>Helvetica Neue</vt:lpstr>
      <vt:lpstr>Wingdings</vt:lpstr>
      <vt:lpstr>Retrospect</vt:lpstr>
      <vt:lpstr>think-cell Slide</vt:lpstr>
      <vt:lpstr>Lending Club case study</vt:lpstr>
      <vt:lpstr>Case Study Summary</vt:lpstr>
      <vt:lpstr>Data Cleaning and manipulation</vt:lpstr>
      <vt:lpstr>Univariate Analysis</vt:lpstr>
      <vt:lpstr>Univariate Analysis</vt:lpstr>
      <vt:lpstr>Univariate Analysis</vt:lpstr>
      <vt:lpstr>Bi-variate and Segmented analysis</vt:lpstr>
      <vt:lpstr>Bi-variate and Segmented analysis</vt:lpstr>
      <vt:lpstr>Bi-variate and Segmented analysis</vt:lpstr>
      <vt:lpstr>Bi-variate and Segmented analysis</vt:lpstr>
      <vt:lpstr>Bi-variate and Segmented analysis</vt:lpstr>
      <vt:lpstr>Feature Engineering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nding Club case study</dc:title>
  <dc:creator>Singla, Jitesh</dc:creator>
  <cp:lastModifiedBy>Prasad G T</cp:lastModifiedBy>
  <cp:revision>4</cp:revision>
  <dcterms:created xsi:type="dcterms:W3CDTF">2022-12-03T12:47:04Z</dcterms:created>
  <dcterms:modified xsi:type="dcterms:W3CDTF">2022-12-06T19:43:32Z</dcterms:modified>
</cp:coreProperties>
</file>